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>
  <p:sldMasterIdLst>
    <p:sldMasterId id="2147483655" r:id="rId1"/>
  </p:sldMasterIdLst>
  <p:notesMasterIdLst>
    <p:notesMasterId r:id="rId4"/>
  </p:notesMasterIdLst>
  <p:handoutMasterIdLst>
    <p:handoutMasterId r:id="rId5"/>
  </p:handoutMasterIdLst>
  <p:sldIdLst>
    <p:sldId id="1200" r:id="rId2"/>
    <p:sldId id="1233" r:id="rId3"/>
  </p:sldIdLst>
  <p:sldSz cx="12801600" cy="9601200" type="A3"/>
  <p:notesSz cx="9928225" cy="14303375"/>
  <p:embeddedFontLst>
    <p:embeddedFont>
      <p:font typeface="Webdings" pitchFamily="18" charset="2"/>
      <p:regular r:id="rId6"/>
    </p:embeddedFont>
    <p:embeddedFont>
      <p:font typeface="Calibri" pitchFamily="34" charset="0"/>
      <p:regular r:id="rId7"/>
      <p:bold r:id="rId8"/>
      <p:italic r:id="rId9"/>
      <p:boldItalic r:id="rId10"/>
    </p:embeddedFont>
    <p:embeddedFont>
      <p:font typeface="Helvetica" pitchFamily="34" charset="0"/>
      <p:regular r:id="rId11"/>
      <p:bold r:id="rId12"/>
      <p:italic r:id="rId13"/>
      <p:boldItalic r:id="rId14"/>
    </p:embeddedFont>
    <p:embeddedFont>
      <p:font typeface="Book Antiqua" pitchFamily="18" charset="0"/>
      <p:regular r:id="rId15"/>
      <p:bold r:id="rId16"/>
      <p:italic r:id="rId17"/>
      <p:boldItalic r:id="rId18"/>
    </p:embeddedFont>
  </p:embeddedFontLst>
  <p:custDataLst>
    <p:tags r:id="rId19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1pPr>
    <a:lvl2pPr marL="610845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2pPr>
    <a:lvl3pPr marL="1221692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3pPr>
    <a:lvl4pPr marL="1832539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4pPr>
    <a:lvl5pPr marL="2443384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5pPr>
    <a:lvl6pPr marL="3054231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6pPr>
    <a:lvl7pPr marL="3665077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7pPr>
    <a:lvl8pPr marL="4275923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8pPr>
    <a:lvl9pPr marL="4886769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ovsky Roman" initials="RR" lastIdx="1" clrIdx="0"/>
  <p:cmAuthor id="1" name="Ekaterina Inozemtseva" initials="EI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BF9F"/>
    <a:srgbClr val="FFCAAF"/>
    <a:srgbClr val="FFB793"/>
    <a:srgbClr val="FFAB81"/>
    <a:srgbClr val="FF9966"/>
    <a:srgbClr val="5B8626"/>
    <a:srgbClr val="0066FF"/>
    <a:srgbClr val="F18917"/>
    <a:srgbClr val="DAF0A8"/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120" autoAdjust="0"/>
    <p:restoredTop sz="99293" autoAdjust="0"/>
  </p:normalViewPr>
  <p:slideViewPr>
    <p:cSldViewPr snapToGrid="0" snapToObjects="1">
      <p:cViewPr varScale="1">
        <p:scale>
          <a:sx n="80" d="100"/>
          <a:sy n="80" d="100"/>
        </p:scale>
        <p:origin x="-1956" y="-96"/>
      </p:cViewPr>
      <p:guideLst>
        <p:guide orient="horz" pos="3438"/>
        <p:guide orient="horz" pos="731"/>
        <p:guide orient="horz" pos="88"/>
        <p:guide orient="horz" pos="993"/>
        <p:guide orient="horz" pos="1414"/>
        <p:guide orient="horz" pos="5453"/>
        <p:guide orient="horz" pos="5884"/>
        <p:guide orient="horz" pos="5699"/>
        <p:guide pos="4138"/>
        <p:guide pos="1155"/>
        <p:guide pos="3117"/>
        <p:guide pos="75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"/>
    </p:cViewPr>
  </p:sorterViewPr>
  <p:notesViewPr>
    <p:cSldViewPr snapToGrid="0" snapToObjects="1">
      <p:cViewPr varScale="1">
        <p:scale>
          <a:sx n="54" d="100"/>
          <a:sy n="54" d="100"/>
        </p:scale>
        <p:origin x="-3972" y="-120"/>
      </p:cViewPr>
      <p:guideLst>
        <p:guide orient="horz" pos="4505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font" Target="fonts/font11.fntdata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24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23" Type="http://schemas.openxmlformats.org/officeDocument/2006/relationships/theme" Target="theme/theme1.xml"/><Relationship Id="rId10" Type="http://schemas.openxmlformats.org/officeDocument/2006/relationships/font" Target="fonts/font5.fntdata"/><Relationship Id="rId19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9329175" y="14002724"/>
            <a:ext cx="532831" cy="243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672">
              <a:defRPr sz="1300" b="0"/>
            </a:lvl1pPr>
          </a:lstStyle>
          <a:p>
            <a:pPr>
              <a:defRPr/>
            </a:pPr>
            <a:fld id="{5EFD5B2C-F70E-4A18-80B5-D7D2CA0AB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63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68547" y="6796665"/>
            <a:ext cx="8120293" cy="7055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5769" tIns="66692" rIns="135769" bIns="666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68363" y="328613"/>
            <a:ext cx="8128000" cy="60960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537073" y="14031511"/>
            <a:ext cx="324933" cy="214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1353672">
              <a:defRPr sz="1300" b="0"/>
            </a:lvl1pPr>
          </a:lstStyle>
          <a:p>
            <a:pPr>
              <a:defRPr/>
            </a:pPr>
            <a:fld id="{C8725C74-95DD-4059-B11B-683323D8F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28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7551" indent="-237551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8134" indent="-218462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527116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2137961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748808" indent="-30542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3054231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5077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5923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6769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750163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960120" y="2982599"/>
            <a:ext cx="10881360" cy="205803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>
                <a:sym typeface="Helvetica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2169" tIns="61085" rIns="122169" bIns="6108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610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2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3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4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5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5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6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256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8" cstate="print"/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 userDrawn="1"/>
        </p:nvSpPr>
        <p:spPr bwMode="auto">
          <a:xfrm>
            <a:off x="1799771" y="698499"/>
            <a:ext cx="1451429" cy="8759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66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jpe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/>
              <a:pPr algn="r">
                <a:defRPr/>
              </a:pPr>
              <a:t>‹#›</a:t>
            </a:fld>
            <a:endParaRPr lang="en-US" sz="1600" b="0" smtClean="0"/>
          </a:p>
        </p:txBody>
      </p:sp>
      <p:pic>
        <p:nvPicPr>
          <p:cNvPr id="16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10" cstate="print"/>
          <a:srcRect r="7023"/>
          <a:stretch/>
        </p:blipFill>
        <p:spPr bwMode="auto">
          <a:xfrm>
            <a:off x="3" y="1"/>
            <a:ext cx="3106054" cy="472439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78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5pPr>
      <a:lvl6pPr marL="61084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6pPr>
      <a:lvl7pPr marL="1221692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7pPr>
      <a:lvl8pPr marL="1832539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8pPr>
      <a:lvl9pPr marL="2443384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Book Antiqua" pitchFamily="18" charset="0"/>
        </a:defRPr>
      </a:lvl9pPr>
    </p:titleStyle>
    <p:bodyStyle>
      <a:lvl1pPr marL="243915" indent="-24391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75103" indent="-229067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2100">
          <a:solidFill>
            <a:schemeClr val="tx1"/>
          </a:solidFill>
          <a:latin typeface="+mn-lt"/>
        </a:defRPr>
      </a:lvl2pPr>
      <a:lvl3pPr marL="3043626" indent="14848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2100">
          <a:solidFill>
            <a:schemeClr val="tx1"/>
          </a:solidFill>
          <a:latin typeface="+mj-lt"/>
        </a:defRPr>
      </a:lvl3pPr>
      <a:lvl4pPr marL="3211185" indent="-1378646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2100">
          <a:solidFill>
            <a:schemeClr val="tx1"/>
          </a:solidFill>
          <a:latin typeface="+mj-lt"/>
        </a:defRPr>
      </a:lvl4pPr>
      <a:lvl5pPr marL="3363896" indent="-920512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5pPr>
      <a:lvl6pPr marL="397474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6pPr>
      <a:lvl7pPr marL="4585588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7pPr>
      <a:lvl8pPr marL="519643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8pPr>
      <a:lvl9pPr marL="5807281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210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845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692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53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384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231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077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923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6769" algn="l" defTabSz="122169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1"/>
            <a:ext cx="11422966" cy="61348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kern="1200" dirty="0">
                <a:latin typeface="Calibri" pitchFamily="34" charset="0"/>
                <a:ea typeface="+mn-ea"/>
                <a:cs typeface="Calibri" pitchFamily="34" charset="0"/>
              </a:rPr>
              <a:t>1</a:t>
            </a:r>
            <a:r>
              <a:rPr lang="ru-RU" kern="1200" dirty="0" smtClean="0">
                <a:latin typeface="Calibri" pitchFamily="34" charset="0"/>
                <a:ea typeface="+mn-ea"/>
                <a:cs typeface="Calibri" pitchFamily="34" charset="0"/>
              </a:rPr>
              <a:t>. </a:t>
            </a:r>
            <a:r>
              <a:rPr lang="en-US" kern="1200" dirty="0" smtClean="0">
                <a:latin typeface="Calibri" pitchFamily="34" charset="0"/>
                <a:ea typeface="+mn-ea"/>
                <a:cs typeface="Calibri" pitchFamily="34" charset="0"/>
              </a:rPr>
              <a:t>“Skolkovo” Business Center </a:t>
            </a:r>
            <a:r>
              <a:rPr lang="ru-RU" kern="1200" dirty="0" smtClean="0">
                <a:latin typeface="Calibri" pitchFamily="34" charset="0"/>
                <a:ea typeface="+mn-ea"/>
                <a:cs typeface="Calibri" pitchFamily="34" charset="0"/>
              </a:rPr>
              <a:t>(«</a:t>
            </a:r>
            <a:r>
              <a:rPr lang="en-US" kern="1200" dirty="0" err="1" smtClean="0">
                <a:latin typeface="Calibri" pitchFamily="34" charset="0"/>
                <a:ea typeface="+mn-ea"/>
                <a:cs typeface="Calibri" pitchFamily="34" charset="0"/>
              </a:rPr>
              <a:t>Matreshka</a:t>
            </a:r>
            <a:r>
              <a:rPr lang="ru-RU" kern="1200" dirty="0" smtClean="0">
                <a:latin typeface="Calibri" pitchFamily="34" charset="0"/>
                <a:ea typeface="+mn-ea"/>
                <a:cs typeface="Calibri" pitchFamily="34" charset="0"/>
              </a:rPr>
              <a:t>»)</a:t>
            </a:r>
            <a:endParaRPr lang="ru-RU" kern="12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407" y="1509990"/>
            <a:ext cx="9415004" cy="7396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255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5540" y="760021"/>
            <a:ext cx="11422966" cy="61348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kern="1200" dirty="0">
                <a:latin typeface="Calibri" pitchFamily="34" charset="0"/>
                <a:cs typeface="Calibri" pitchFamily="34" charset="0"/>
              </a:rPr>
              <a:t>1. </a:t>
            </a:r>
            <a:r>
              <a:rPr lang="en-US" kern="1200" dirty="0">
                <a:latin typeface="Calibri" pitchFamily="34" charset="0"/>
                <a:cs typeface="Calibri" pitchFamily="34" charset="0"/>
              </a:rPr>
              <a:t>“Skolkovo” Business Center </a:t>
            </a:r>
            <a:r>
              <a:rPr lang="ru-RU" kern="1200" dirty="0">
                <a:latin typeface="Calibri" pitchFamily="34" charset="0"/>
                <a:cs typeface="Calibri" pitchFamily="34" charset="0"/>
              </a:rPr>
              <a:t>(«</a:t>
            </a:r>
            <a:r>
              <a:rPr lang="en-US" kern="1200" dirty="0" err="1">
                <a:latin typeface="Calibri" pitchFamily="34" charset="0"/>
                <a:cs typeface="Calibri" pitchFamily="34" charset="0"/>
              </a:rPr>
              <a:t>Matreshka</a:t>
            </a:r>
            <a:r>
              <a:rPr lang="ru-RU" kern="1200" dirty="0">
                <a:latin typeface="Calibri" pitchFamily="34" charset="0"/>
                <a:cs typeface="Calibri" pitchFamily="34" charset="0"/>
              </a:rPr>
              <a:t>»)</a:t>
            </a:r>
            <a:endParaRPr lang="ru-RU" kern="12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157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25" y="1533740"/>
            <a:ext cx="9428611" cy="75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7750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z6A4jyz06iSJIrniZL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bRO0UwS0.EdUwHdN.V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heme/theme1.xml><?xml version="1.0" encoding="utf-8"?>
<a:theme xmlns:a="http://schemas.openxmlformats.org/drawingml/2006/main" name="Blank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12</TotalTime>
  <Pages>8</Pages>
  <Words>20</Words>
  <Application>Microsoft Office PowerPoint</Application>
  <PresentationFormat>A3 (297x420 мм)</PresentationFormat>
  <Paragraphs>2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Webdings</vt:lpstr>
      <vt:lpstr>Calibri</vt:lpstr>
      <vt:lpstr>Helvetica</vt:lpstr>
      <vt:lpstr>Book Antiqua</vt:lpstr>
      <vt:lpstr>Wingdings</vt:lpstr>
      <vt:lpstr>Blank</vt:lpstr>
      <vt:lpstr>think-cell Slide</vt:lpstr>
      <vt:lpstr>1. “Skolkovo” Business Center («Matreshka»)</vt:lpstr>
      <vt:lpstr>1. “Skolkovo” Business Center («Matreshka»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kolkovo Foundation</dc:creator>
  <cp:lastModifiedBy>Laptev Alexander</cp:lastModifiedBy>
  <cp:revision>1444</cp:revision>
  <cp:lastPrinted>2012-08-20T10:55:06Z</cp:lastPrinted>
  <dcterms:created xsi:type="dcterms:W3CDTF">2010-12-08T07:12:18Z</dcterms:created>
  <dcterms:modified xsi:type="dcterms:W3CDTF">2012-08-24T12:39:15Z</dcterms:modified>
</cp:coreProperties>
</file>